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4"/>
  </p:notesMasterIdLst>
  <p:handoutMasterIdLst>
    <p:handoutMasterId r:id="rId15"/>
  </p:handoutMasterIdLst>
  <p:sldIdLst>
    <p:sldId id="656" r:id="rId3"/>
    <p:sldId id="840" r:id="rId4"/>
    <p:sldId id="893" r:id="rId5"/>
    <p:sldId id="903" r:id="rId6"/>
    <p:sldId id="912" r:id="rId7"/>
    <p:sldId id="911" r:id="rId8"/>
    <p:sldId id="902" r:id="rId9"/>
    <p:sldId id="904" r:id="rId10"/>
    <p:sldId id="905" r:id="rId11"/>
    <p:sldId id="906" r:id="rId12"/>
    <p:sldId id="907" r:id="rId13"/>
  </p:sldIdLst>
  <p:sldSz cx="12192000" cy="6858000"/>
  <p:notesSz cx="6805613" cy="9944100"/>
  <p:custDataLst>
    <p:tags r:id="rId1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79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7355" userDrawn="1">
          <p15:clr>
            <a:srgbClr val="A4A3A4"/>
          </p15:clr>
        </p15:guide>
        <p15:guide id="6" orient="horz" pos="3203" userDrawn="1">
          <p15:clr>
            <a:srgbClr val="A4A3A4"/>
          </p15:clr>
        </p15:guide>
        <p15:guide id="7" orient="horz" pos="3770" userDrawn="1">
          <p15:clr>
            <a:srgbClr val="A4A3A4"/>
          </p15:clr>
        </p15:guide>
        <p15:guide id="8" orient="horz" pos="1525" userDrawn="1">
          <p15:clr>
            <a:srgbClr val="A4A3A4"/>
          </p15:clr>
        </p15:guide>
        <p15:guide id="9" pos="1958" userDrawn="1">
          <p15:clr>
            <a:srgbClr val="A4A3A4"/>
          </p15:clr>
        </p15:guide>
        <p15:guide id="10" orient="horz" pos="1003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3" pos="2593" userDrawn="1">
          <p15:clr>
            <a:srgbClr val="A4A3A4"/>
          </p15:clr>
        </p15:guide>
        <p15:guide id="14" orient="horz" pos="187" userDrawn="1">
          <p15:clr>
            <a:srgbClr val="A4A3A4"/>
          </p15:clr>
        </p15:guide>
        <p15:guide id="15" orient="horz" pos="150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" initials="v" lastIdx="1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5DAE"/>
    <a:srgbClr val="2D2B8D"/>
    <a:srgbClr val="0073B8"/>
    <a:srgbClr val="6D86C4"/>
    <a:srgbClr val="FF4747"/>
    <a:srgbClr val="008F96"/>
    <a:srgbClr val="3D9FBD"/>
    <a:srgbClr val="CBD6F1"/>
    <a:srgbClr val="5A4888"/>
    <a:srgbClr val="2947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43" autoAdjust="0"/>
    <p:restoredTop sz="96408" autoAdjust="0"/>
  </p:normalViewPr>
  <p:slideViewPr>
    <p:cSldViewPr snapToGrid="0">
      <p:cViewPr varScale="1">
        <p:scale>
          <a:sx n="116" d="100"/>
          <a:sy n="116" d="100"/>
        </p:scale>
        <p:origin x="396" y="108"/>
      </p:cViewPr>
      <p:guideLst>
        <p:guide pos="279"/>
        <p:guide pos="3840"/>
        <p:guide pos="7355"/>
        <p:guide orient="horz" pos="3203"/>
        <p:guide orient="horz" pos="3770"/>
        <p:guide orient="horz" pos="1525"/>
        <p:guide pos="1958"/>
        <p:guide orient="horz" pos="1003"/>
        <p:guide orient="horz" pos="550"/>
        <p:guide pos="2593"/>
        <p:guide orient="horz" pos="187"/>
        <p:guide orient="horz" pos="1501"/>
      </p:guideLst>
    </p:cSldViewPr>
  </p:slideViewPr>
  <p:outlineViewPr>
    <p:cViewPr>
      <p:scale>
        <a:sx n="33" d="100"/>
        <a:sy n="33" d="100"/>
      </p:scale>
      <p:origin x="0" y="121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1817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E0B01-5135-4C2C-8993-28414D4B3686}" type="datetimeFigureOut">
              <a:rPr lang="ru-RU" smtClean="0"/>
              <a:t>12.08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374D61-2BC5-456A-87AC-0423C80EC8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6953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0488621D-33F7-43DA-9DA1-6B62CCF928AF}" type="datetimeFigureOut">
              <a:rPr lang="ru-RU" smtClean="0"/>
              <a:pPr/>
              <a:t>12.08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3633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06328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40742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575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36277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64284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49001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15489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63832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94098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12444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2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2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2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B73E46-0FBB-4229-8CBB-09B80B167E3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72904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3557EA-3183-4660-8887-18C9CD5B6E0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3669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F90D3-F678-4AA2-BC13-F0EC35626B6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19209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AC885-7A1B-43F1-B6BC-ED1A2B1ACC3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51233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E4AC57-9A0D-4DE7-838A-D5602519448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9717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A0E761-F77E-4A44-9560-BCDED5BAEA7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63948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EEF47A-FFA2-487B-BADC-239AA6539AA6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23477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47C012-AF97-4E12-B15C-9F146888FEC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7981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2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3B024-6757-4AF0-8BCF-365FC435FEB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88911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8878E5-7E8C-468C-B0D8-54E5FDFA2C06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7849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26D4D7-FBB8-45CF-B201-8D5D147BA64A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6060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2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2.08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2.08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2.08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2.08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2.08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2.08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6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/>
              <a:pPr/>
              <a:t>12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19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xmlns="" id="{336A5C21-8560-4361-BC34-8E7691E5D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20AD9F-A03A-4659-8941-6477DDD5F1F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1421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3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e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1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2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85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xmlns="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95738" y="2639553"/>
            <a:ext cx="10216392" cy="789447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540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НОВИНКИ ОКТЯБРЯ </a:t>
            </a:r>
            <a:r>
              <a:rPr lang="ru-RU" sz="5400" dirty="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2021</a:t>
            </a:r>
            <a:endParaRPr lang="ru-RU" sz="5400" dirty="0">
              <a:solidFill>
                <a:schemeClr val="bg1"/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xmlns="" id="{C5B8FA12-8F11-450D-B1D4-14C77A453207}"/>
              </a:ext>
            </a:extLst>
          </p:cNvPr>
          <p:cNvGrpSpPr/>
          <p:nvPr/>
        </p:nvGrpSpPr>
        <p:grpSpPr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8265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00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42912" y="5543410"/>
            <a:ext cx="3673475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 smtClean="0">
                <a:solidFill>
                  <a:prstClr val="black"/>
                </a:solidFill>
                <a:latin typeface="+mn-lt"/>
              </a:rPr>
              <a:t>Код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311-0693-01</a:t>
            </a:r>
            <a:r>
              <a:rPr lang="ru-RU" b="0" dirty="0" smtClean="0">
                <a:latin typeface="+mn-lt"/>
              </a:rPr>
              <a:t/>
            </a:r>
            <a:br>
              <a:rPr lang="ru-RU" b="0" dirty="0" smtClean="0">
                <a:latin typeface="+mn-lt"/>
              </a:rPr>
            </a:b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84*108/16, 205х205, 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24 </a:t>
            </a:r>
            <a:r>
              <a:rPr lang="ru-RU" b="0" dirty="0" err="1">
                <a:solidFill>
                  <a:prstClr val="black"/>
                </a:solidFill>
                <a:latin typeface="+mn-lt"/>
              </a:rPr>
              <a:t>стр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4 краск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7616" y="405373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Серия </a:t>
            </a:r>
            <a:r>
              <a:rPr lang="ru-RU" dirty="0" smtClean="0"/>
              <a:t>«Истории </a:t>
            </a:r>
            <a:r>
              <a:rPr lang="ru-RU" dirty="0"/>
              <a:t>в картинках для самых маленьких»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073397" y="1592263"/>
            <a:ext cx="6707166" cy="692497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Тиша и щенок Миша. Смелые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утешественники</a:t>
            </a:r>
          </a:p>
          <a:p>
            <a:endParaRPr lang="en-US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атя </a:t>
            </a:r>
            <a:r>
              <a:rPr lang="ru-RU" sz="1400" b="1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Баканова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027089" y="2594775"/>
            <a:ext cx="5960225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Весёлые </a:t>
            </a:r>
            <a:r>
              <a:rPr lang="ru-RU" sz="1200" dirty="0"/>
              <a:t>истории про котёнка Тишу и щенка Мишу вызывают яркие эмоции у малышей: удивление, смех, радость, интерес. Так и хочется обсудить со</a:t>
            </a:r>
          </a:p>
          <a:p>
            <a:r>
              <a:rPr lang="ru-RU" sz="1200" dirty="0"/>
              <a:t>взрослым каждую картинку, а потом рассказать о том, что приключилось с забавными героями самостоятельно</a:t>
            </a:r>
            <a:r>
              <a:rPr lang="ru-RU" sz="1200" dirty="0" smtClean="0"/>
              <a:t>.</a:t>
            </a:r>
          </a:p>
          <a:p>
            <a:endParaRPr lang="ru-RU" sz="1200" dirty="0"/>
          </a:p>
          <a:p>
            <a:r>
              <a:rPr lang="ru-RU" sz="1200" dirty="0"/>
              <a:t>На этот раз, плотно закусив хозяйским обедом, Тиша и Миша отправятся в путешествие. В лесу они покормят голодного совёнка, выручат зайчика из беды, а на лугу познакомятся с упрямым барашком и сердитыми пчёлами</a:t>
            </a:r>
            <a:r>
              <a:rPr lang="ru-RU" sz="1200" dirty="0" smtClean="0"/>
              <a:t>.</a:t>
            </a:r>
          </a:p>
          <a:p>
            <a:endParaRPr lang="ru-RU" sz="1200" dirty="0"/>
          </a:p>
          <a:p>
            <a:r>
              <a:rPr lang="ru-RU" sz="1200" dirty="0"/>
              <a:t>Рассказывайте вместе с малышом истории по опорным картинкам. Это не только весело, но и полезно.</a:t>
            </a:r>
          </a:p>
          <a:p>
            <a:r>
              <a:rPr lang="ru-RU" sz="1200" dirty="0"/>
              <a:t>Так вы разовьёте у ребёнка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наблюдательность</a:t>
            </a:r>
            <a:endParaRPr lang="ru-RU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логическое </a:t>
            </a:r>
            <a:r>
              <a:rPr lang="ru-RU" sz="1200" dirty="0"/>
              <a:t>и творческое мышлени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словарный </a:t>
            </a:r>
            <a:r>
              <a:rPr lang="ru-RU" sz="1200" dirty="0"/>
              <a:t>запас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связную </a:t>
            </a:r>
            <a:r>
              <a:rPr lang="ru-RU" sz="1200" dirty="0"/>
              <a:t>речь</a:t>
            </a:r>
          </a:p>
        </p:txBody>
      </p:sp>
      <p:pic>
        <p:nvPicPr>
          <p:cNvPr id="13" name="Рисунок 12" descr="C:\Users\local_EBakanova\INetCache\Content.Word\tishamisha_pyteshesveniki_cover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2" y="1592263"/>
            <a:ext cx="2511827" cy="26310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26526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2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42912" y="5543410"/>
            <a:ext cx="3673475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 smtClean="0">
                <a:solidFill>
                  <a:prstClr val="black"/>
                </a:solidFill>
                <a:latin typeface="+mn-lt"/>
              </a:rPr>
              <a:t>Код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311-0609-01</a:t>
            </a:r>
            <a:r>
              <a:rPr lang="ru-RU" b="0" dirty="0" smtClean="0">
                <a:latin typeface="+mn-lt"/>
              </a:rPr>
              <a:t/>
            </a:r>
            <a:br>
              <a:rPr lang="ru-RU" b="0" dirty="0" smtClean="0">
                <a:latin typeface="+mn-lt"/>
              </a:rPr>
            </a:b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60х90/8, 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48 </a:t>
            </a:r>
            <a:r>
              <a:rPr lang="ru-RU" b="0" dirty="0" err="1">
                <a:solidFill>
                  <a:prstClr val="black"/>
                </a:solidFill>
                <a:latin typeface="+mn-lt"/>
              </a:rPr>
              <a:t>стр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4 краск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7616" y="405373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Серия «100 зачем и почему»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073397" y="1592263"/>
            <a:ext cx="6707166" cy="692497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акие бывают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рофессии</a:t>
            </a:r>
          </a:p>
          <a:p>
            <a:endParaRPr lang="en-US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Елена </a:t>
            </a:r>
            <a:r>
              <a:rPr lang="ru-RU" sz="1400" b="1" dirty="0" err="1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Запесочн</a:t>
            </a:r>
            <a:r>
              <a:rPr lang="ru-RU" sz="1400" b="1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ru-RU" sz="1400" b="1" dirty="0" err="1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я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027089" y="2382838"/>
            <a:ext cx="5960225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Уже в раннем возрасте дети проявляют интерес к труду взрослых и пытаются им подражать. Самое время познакомить ребят с миром профессий</a:t>
            </a:r>
            <a:r>
              <a:rPr lang="ru-RU" sz="1200" dirty="0" smtClean="0"/>
              <a:t>.</a:t>
            </a:r>
          </a:p>
          <a:p>
            <a:endParaRPr lang="ru-RU" sz="1200" dirty="0"/>
          </a:p>
          <a:p>
            <a:r>
              <a:rPr lang="ru-RU" sz="1200" dirty="0"/>
              <a:t>Чем занимаются учителя на каникулах? Каким должен быть хороший продавец? Почему у фермера не бывает выходных? Кто может организовать на сцене закат солнца? Об этом и многом другом узнают маленькие читатели, отправившись в далёкое путешествие вместе с любимыми героями Стёпой, Тёпой и Степанидой. </a:t>
            </a:r>
            <a:endParaRPr lang="ru-RU" sz="1200" dirty="0" smtClean="0"/>
          </a:p>
          <a:p>
            <a:endParaRPr lang="ru-RU" sz="1200" dirty="0"/>
          </a:p>
          <a:p>
            <a:r>
              <a:rPr lang="ru-RU" sz="1200" dirty="0"/>
              <a:t>А ещё дети найдут в этой удивительной книге </a:t>
            </a:r>
            <a:r>
              <a:rPr lang="ru-RU" sz="1200" dirty="0" err="1"/>
              <a:t>виммельбух</a:t>
            </a:r>
            <a:r>
              <a:rPr lang="ru-RU" sz="1200" dirty="0"/>
              <a:t>, раскраски, задания на внимание, логику, память и сообразительность, а также много тем для разговоров и творчества. </a:t>
            </a:r>
            <a:endParaRPr lang="ru-RU" sz="1200" dirty="0" smtClean="0"/>
          </a:p>
          <a:p>
            <a:endParaRPr lang="ru-RU" sz="1200" dirty="0"/>
          </a:p>
          <a:p>
            <a:r>
              <a:rPr lang="ru-RU" sz="1200" dirty="0"/>
              <a:t>Новые знания о самых разных профессиях вплетены в понятный, лёгкий и увлекательный сюжет и ярко проиллюстрированы. Именно так формируется интерес ребёнка к окружающему миру</a:t>
            </a:r>
            <a:r>
              <a:rPr lang="ru-RU" sz="1200" dirty="0" smtClean="0"/>
              <a:t>.</a:t>
            </a:r>
          </a:p>
          <a:p>
            <a:endParaRPr lang="ru-RU" sz="1200" dirty="0"/>
          </a:p>
          <a:p>
            <a:r>
              <a:rPr lang="ru-RU" sz="1200" dirty="0"/>
              <a:t>Бонус! На последнем развороте ребят ждёт маленький сюрприз: они увидят, как появилась книга про Стёпу и Степаниду.</a:t>
            </a:r>
          </a:p>
        </p:txBody>
      </p:sp>
      <p:pic>
        <p:nvPicPr>
          <p:cNvPr id="11" name="Рисунок 10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16" y="1790462"/>
            <a:ext cx="2229023" cy="27532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26865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28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7ED3B4AB-2944-4CB8-974F-92CE170CCDE7}"/>
              </a:ext>
            </a:extLst>
          </p:cNvPr>
          <p:cNvSpPr/>
          <p:nvPr/>
        </p:nvSpPr>
        <p:spPr>
          <a:xfrm rot="10800000">
            <a:off x="7119213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721DBF65-A5EE-42BD-A8DA-21D7B69EA723}"/>
              </a:ext>
            </a:extLst>
          </p:cNvPr>
          <p:cNvSpPr txBox="1"/>
          <p:nvPr/>
        </p:nvSpPr>
        <p:spPr>
          <a:xfrm>
            <a:off x="1778260" y="1907468"/>
            <a:ext cx="4191455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собия </a:t>
            </a:r>
            <a:b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 линиям УМК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0" name="Номер слайда 2">
            <a:extLst>
              <a:ext uri="{FF2B5EF4-FFF2-40B4-BE49-F238E27FC236}">
                <a16:creationId xmlns:a16="http://schemas.microsoft.com/office/drawing/2014/main" xmlns="" id="{3FC4D94E-3F7B-457C-A7CE-EAF00E7B718A}"/>
              </a:ext>
            </a:extLst>
          </p:cNvPr>
          <p:cNvSpPr txBox="1">
            <a:spLocks/>
          </p:cNvSpPr>
          <p:nvPr/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" sz="1100" smtClean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</a:t>
            </a:fld>
            <a:endParaRPr lang="en" sz="1100" dirty="0">
              <a:solidFill>
                <a:schemeClr val="bg1">
                  <a:lumMod val="8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8419693" y="1946752"/>
            <a:ext cx="317054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ые пособия</a:t>
            </a:r>
            <a:endParaRPr 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7559745" y="1617031"/>
            <a:ext cx="728340" cy="728336"/>
            <a:chOff x="7559745" y="1617031"/>
            <a:chExt cx="728340" cy="728336"/>
          </a:xfrm>
        </p:grpSpPr>
        <p:sp>
          <p:nvSpPr>
            <p:cNvPr id="41" name="Овал 40">
              <a:extLst>
                <a:ext uri="{FF2B5EF4-FFF2-40B4-BE49-F238E27FC236}">
                  <a16:creationId xmlns:a16="http://schemas.microsoft.com/office/drawing/2014/main" xmlns="" id="{1B3EF5EA-9F06-4458-A78A-6CE112383FDD}"/>
                </a:ext>
              </a:extLst>
            </p:cNvPr>
            <p:cNvSpPr/>
            <p:nvPr/>
          </p:nvSpPr>
          <p:spPr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7" name="Рисунок 6" descr="Попасть в яблочко">
              <a:extLst>
                <a:ext uri="{FF2B5EF4-FFF2-40B4-BE49-F238E27FC236}">
                  <a16:creationId xmlns:a16="http://schemas.microsoft.com/office/drawing/2014/main" xmlns="" id="{3332B0D8-A807-4EFC-AFB5-23A26615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grpSp>
        <p:nvGrpSpPr>
          <p:cNvPr id="9" name="Группа 8"/>
          <p:cNvGrpSpPr/>
          <p:nvPr/>
        </p:nvGrpSpPr>
        <p:grpSpPr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xmlns="" id="{6C2484BF-A76B-4B95-9B8A-5C002E16225E}"/>
                </a:ext>
              </a:extLst>
            </p:cNvPr>
            <p:cNvSpPr/>
            <p:nvPr/>
          </p:nvSpPr>
          <p:spPr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xmlns="" id="{F556AEBB-BC7B-48BB-B38B-4137C2A55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59778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64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57616" y="40537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Линия УМК "Живопись" для дополнительного предпрофессионального обучения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5073397" y="1592263"/>
            <a:ext cx="6707166" cy="112338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Живопись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Второй год обучения. Учебное пособие для организаций дополнительного образования</a:t>
            </a:r>
            <a:r>
              <a:rPr lang="en-US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  </a:t>
            </a:r>
          </a:p>
          <a:p>
            <a:endParaRPr lang="en-US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И. В. Ловцова, С. А.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орчаков</a:t>
            </a:r>
            <a:endParaRPr lang="en-US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073397" y="2623789"/>
            <a:ext cx="5960225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Учебное пособие предназначено для учащихся детских художественных школ и школ искусств. Подготовлено в соответствии с Федеральными государственными требованиями к дополнительным предпрофессиональным программам. </a:t>
            </a:r>
          </a:p>
          <a:p>
            <a:r>
              <a:rPr lang="ru-RU" sz="1200" dirty="0"/>
              <a:t>Пособие может быть также полезным для учащихся всех организаций дополнительного образования и общеобразовательных организаций с углублённым изучением предметов образовательной области «Искусство».</a:t>
            </a:r>
          </a:p>
          <a:p>
            <a:r>
              <a:rPr lang="ru-RU" sz="1200" dirty="0"/>
              <a:t>Пособие для второго года обучения (соответствует 6 классу общеобразовательной школы) </a:t>
            </a:r>
            <a:endParaRPr lang="ru-RU" sz="1200" dirty="0" smtClean="0"/>
          </a:p>
          <a:p>
            <a:endParaRPr lang="en-US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познакомит </a:t>
            </a:r>
            <a:r>
              <a:rPr lang="ru-RU" sz="1200" dirty="0"/>
              <a:t>с основами </a:t>
            </a:r>
            <a:r>
              <a:rPr lang="ru-RU" sz="1200" dirty="0" err="1"/>
              <a:t>цветоведения</a:t>
            </a:r>
            <a:r>
              <a:rPr lang="ru-RU" sz="1200" dirty="0"/>
              <a:t>, научит работать цветом в разных техниках, а также анализировать произведения великих </a:t>
            </a:r>
            <a:r>
              <a:rPr lang="ru-RU" sz="1200" dirty="0" smtClean="0"/>
              <a:t>живописцев</a:t>
            </a:r>
            <a:endParaRPr lang="en-US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учащиеся </a:t>
            </a:r>
            <a:r>
              <a:rPr lang="ru-RU" sz="1200" dirty="0"/>
              <a:t>узнают, что такое локальный цвет, рефлексы, как лепить форму цветом и работать над этюдами фигуры человека, что такое цветовые отношения, цветовая гамма, акцент, детализация и </a:t>
            </a:r>
            <a:r>
              <a:rPr lang="ru-RU" sz="1200" dirty="0" err="1" smtClean="0"/>
              <a:t>др</a:t>
            </a:r>
            <a:endParaRPr lang="ru-RU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по </a:t>
            </a:r>
            <a:r>
              <a:rPr lang="ru-RU" sz="1200" dirty="0"/>
              <a:t>каждой теме даны обобщающие вопросы, художественно-творческие упражнения и задания с описанием и показом этапов </a:t>
            </a:r>
            <a:r>
              <a:rPr lang="ru-RU" sz="1200" dirty="0" smtClean="0"/>
              <a:t>работы</a:t>
            </a:r>
          </a:p>
          <a:p>
            <a:endParaRPr lang="ru-RU" sz="1200" dirty="0"/>
          </a:p>
          <a:p>
            <a:r>
              <a:rPr lang="ru-RU" sz="1200" dirty="0"/>
              <a:t>Книга включает богатый зрительный ряд (репродукции произведений живописи разных эпох и направлений, методические рисунки и схемы, а также учебные работы).</a:t>
            </a:r>
          </a:p>
        </p:txBody>
      </p:sp>
      <p:pic>
        <p:nvPicPr>
          <p:cNvPr id="11" name="Рисунок 10" descr="C:\Users\local_ekomarova\INetCache\Content.Word\Cover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16" y="1592263"/>
            <a:ext cx="2742784" cy="33621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TextBox 11"/>
          <p:cNvSpPr txBox="1"/>
          <p:nvPr/>
        </p:nvSpPr>
        <p:spPr>
          <a:xfrm>
            <a:off x="442913" y="5471973"/>
            <a:ext cx="3281362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31-0372-01</a:t>
            </a:r>
            <a:r>
              <a:rPr lang="ru-RU" b="0" dirty="0" smtClean="0">
                <a:latin typeface="+mn-lt"/>
              </a:rPr>
              <a:t/>
            </a:r>
            <a:br>
              <a:rPr lang="ru-RU" b="0" dirty="0" smtClean="0">
                <a:latin typeface="+mn-lt"/>
              </a:rPr>
            </a:b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</a:t>
            </a:r>
            <a:r>
              <a:rPr lang="ru-RU" dirty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84</a:t>
            </a:r>
            <a:r>
              <a:rPr lang="ru-RU" b="0" dirty="0" smtClean="0">
                <a:solidFill>
                  <a:prstClr val="black"/>
                </a:solidFill>
                <a:latin typeface="+mn-lt"/>
                <a:sym typeface="Wingdings 2" panose="05020102010507070707" pitchFamily="18" charset="2"/>
              </a:rPr>
              <a:t>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108 1/16, 112 </a:t>
            </a:r>
            <a:r>
              <a:rPr lang="ru-RU" b="0" dirty="0" err="1" smtClean="0">
                <a:solidFill>
                  <a:prstClr val="black"/>
                </a:solidFill>
                <a:latin typeface="+mn-lt"/>
              </a:rPr>
              <a:t>стр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, 4 краски</a:t>
            </a:r>
            <a:endParaRPr lang="ru-RU" b="0" dirty="0">
              <a:solidFill>
                <a:prstClr val="black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8276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4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7ED3B4AB-2944-4CB8-974F-92CE170CCDE7}"/>
              </a:ext>
            </a:extLst>
          </p:cNvPr>
          <p:cNvSpPr/>
          <p:nvPr/>
        </p:nvSpPr>
        <p:spPr>
          <a:xfrm rot="10800000">
            <a:off x="7140775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721DBF65-A5EE-42BD-A8DA-21D7B69EA723}"/>
              </a:ext>
            </a:extLst>
          </p:cNvPr>
          <p:cNvSpPr txBox="1"/>
          <p:nvPr/>
        </p:nvSpPr>
        <p:spPr>
          <a:xfrm>
            <a:off x="1791790" y="2054475"/>
            <a:ext cx="4191455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собия к сериям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0" name="Номер слайда 2">
            <a:extLst>
              <a:ext uri="{FF2B5EF4-FFF2-40B4-BE49-F238E27FC236}">
                <a16:creationId xmlns:a16="http://schemas.microsoft.com/office/drawing/2014/main" xmlns="" id="{3FC4D94E-3F7B-457C-A7CE-EAF00E7B718A}"/>
              </a:ext>
            </a:extLst>
          </p:cNvPr>
          <p:cNvSpPr txBox="1">
            <a:spLocks/>
          </p:cNvSpPr>
          <p:nvPr/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" sz="1100" smtClean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4</a:t>
            </a:fld>
            <a:endParaRPr lang="en" sz="1100" dirty="0">
              <a:solidFill>
                <a:schemeClr val="bg1">
                  <a:lumMod val="8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7559745" y="1617031"/>
            <a:ext cx="728340" cy="728336"/>
            <a:chOff x="7559745" y="1617031"/>
            <a:chExt cx="728340" cy="728336"/>
          </a:xfrm>
        </p:grpSpPr>
        <p:sp>
          <p:nvSpPr>
            <p:cNvPr id="41" name="Овал 40">
              <a:extLst>
                <a:ext uri="{FF2B5EF4-FFF2-40B4-BE49-F238E27FC236}">
                  <a16:creationId xmlns:a16="http://schemas.microsoft.com/office/drawing/2014/main" xmlns="" id="{1B3EF5EA-9F06-4458-A78A-6CE112383FDD}"/>
                </a:ext>
              </a:extLst>
            </p:cNvPr>
            <p:cNvSpPr/>
            <p:nvPr/>
          </p:nvSpPr>
          <p:spPr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7" name="Рисунок 6" descr="Попасть в яблочко">
              <a:extLst>
                <a:ext uri="{FF2B5EF4-FFF2-40B4-BE49-F238E27FC236}">
                  <a16:creationId xmlns:a16="http://schemas.microsoft.com/office/drawing/2014/main" xmlns="" id="{3332B0D8-A807-4EFC-AFB5-23A26615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grpSp>
        <p:nvGrpSpPr>
          <p:cNvPr id="9" name="Группа 8"/>
          <p:cNvGrpSpPr/>
          <p:nvPr/>
        </p:nvGrpSpPr>
        <p:grpSpPr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xmlns="" id="{6C2484BF-A76B-4B95-9B8A-5C002E16225E}"/>
                </a:ext>
              </a:extLst>
            </p:cNvPr>
            <p:cNvSpPr/>
            <p:nvPr/>
          </p:nvSpPr>
          <p:spPr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xmlns="" id="{F556AEBB-BC7B-48BB-B38B-4137C2A55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  <p:sp>
        <p:nvSpPr>
          <p:cNvPr id="15" name="Прямоугольник 14"/>
          <p:cNvSpPr/>
          <p:nvPr/>
        </p:nvSpPr>
        <p:spPr>
          <a:xfrm>
            <a:off x="8419693" y="1946752"/>
            <a:ext cx="317054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собия по диагностике и аттестации</a:t>
            </a:r>
            <a:endParaRPr 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8926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2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57616" y="5379038"/>
            <a:ext cx="3281362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>
                <a:solidFill>
                  <a:prstClr val="black"/>
                </a:solidFill>
                <a:latin typeface="+mn-lt"/>
              </a:rPr>
              <a:t>Код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324-0200-01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324-0201-01</a:t>
            </a:r>
            <a:r>
              <a:rPr lang="ru-RU" b="0" dirty="0" smtClean="0">
                <a:latin typeface="+mn-lt"/>
              </a:rPr>
              <a:t/>
            </a:r>
            <a:br>
              <a:rPr lang="ru-RU" b="0" dirty="0" smtClean="0">
                <a:latin typeface="+mn-lt"/>
              </a:rPr>
            </a:b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60</a:t>
            </a:r>
            <a:r>
              <a:rPr lang="ru-RU" b="0" dirty="0" smtClean="0">
                <a:solidFill>
                  <a:prstClr val="black"/>
                </a:solidFill>
                <a:latin typeface="+mn-lt"/>
                <a:sym typeface="Wingdings 2" panose="05020102010507070707" pitchFamily="18" charset="2"/>
              </a:rPr>
              <a:t>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90 1/8,  40-48 </a:t>
            </a:r>
            <a:r>
              <a:rPr lang="ru-RU" b="0" dirty="0" err="1">
                <a:solidFill>
                  <a:prstClr val="black"/>
                </a:solidFill>
                <a:latin typeface="+mn-lt"/>
              </a:rPr>
              <a:t>стр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2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краск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7616" y="405373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Серия </a:t>
            </a:r>
            <a:r>
              <a:rPr lang="ru-RU" dirty="0" smtClean="0"/>
              <a:t>«Проверь себя»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073397" y="1592263"/>
            <a:ext cx="6707166" cy="907941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кружающий мир. Что я знаю. Что я умею. 2 класс. 1 полугодие. Тетрадь проверочных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абот</a:t>
            </a:r>
          </a:p>
          <a:p>
            <a:endParaRPr lang="en-US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Ефремова А. Г.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073397" y="2877752"/>
            <a:ext cx="604903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Тетрадь предназначена для организации тематического контроля на уроках окружающего мира </a:t>
            </a:r>
            <a:r>
              <a:rPr lang="ru-RU" sz="1200" dirty="0" smtClean="0"/>
              <a:t>во </a:t>
            </a:r>
            <a:r>
              <a:rPr lang="ru-RU" sz="1200" dirty="0"/>
              <a:t>2 класса и  содержит два равнозначных варианта проверочных работ по каждой изучаемой </a:t>
            </a:r>
            <a:r>
              <a:rPr lang="ru-RU" sz="1200" dirty="0" smtClean="0"/>
              <a:t>теме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Предложенные </a:t>
            </a:r>
            <a:r>
              <a:rPr lang="ru-RU" sz="1200" dirty="0"/>
              <a:t>задания позволяют определить уровень освоения учащимися программного материала и подготовить их к выполнению итоговых проверочных работ за полугодие и год. </a:t>
            </a:r>
            <a:endParaRPr lang="ru-RU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В </a:t>
            </a:r>
            <a:r>
              <a:rPr lang="ru-RU" sz="1200" dirty="0"/>
              <a:t>конце тетради даны методические рекомендации для учителя по проведению и оцениванию проверочных работ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Тетрадь соответствует требованиям ФГОС НОО к уровню подготовленности учащихся 2 класса и может использоваться как в системе развивающего обучения Л.В. </a:t>
            </a:r>
            <a:r>
              <a:rPr lang="ru-RU" sz="1200" dirty="0" err="1"/>
              <a:t>Занкова</a:t>
            </a:r>
            <a:r>
              <a:rPr lang="ru-RU" sz="1200" dirty="0"/>
              <a:t> с учебником Н.Я. Дмитриевой, А.Н. Казакова «Окружающий мир. 2 класс», так и с другими УМК.</a:t>
            </a:r>
          </a:p>
        </p:txBody>
      </p:sp>
      <p:pic>
        <p:nvPicPr>
          <p:cNvPr id="431112" name="Picture 8" descr="Obl_ОМ_Tetr_2kl_01_PROSV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8297" y="2696010"/>
            <a:ext cx="1603375" cy="21367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1113" name="Picture 9" descr="Obl_ОМ_Tetr_2kl_02_PROSV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556" y="1592262"/>
            <a:ext cx="1603375" cy="21367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553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14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7ED3B4AB-2944-4CB8-974F-92CE170CCDE7}"/>
              </a:ext>
            </a:extLst>
          </p:cNvPr>
          <p:cNvSpPr/>
          <p:nvPr/>
        </p:nvSpPr>
        <p:spPr>
          <a:xfrm rot="10800000">
            <a:off x="7140775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721DBF65-A5EE-42BD-A8DA-21D7B69EA723}"/>
              </a:ext>
            </a:extLst>
          </p:cNvPr>
          <p:cNvSpPr txBox="1"/>
          <p:nvPr/>
        </p:nvSpPr>
        <p:spPr>
          <a:xfrm>
            <a:off x="1791790" y="2054475"/>
            <a:ext cx="4191455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школьное образование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0" name="Номер слайда 2">
            <a:extLst>
              <a:ext uri="{FF2B5EF4-FFF2-40B4-BE49-F238E27FC236}">
                <a16:creationId xmlns:a16="http://schemas.microsoft.com/office/drawing/2014/main" xmlns="" id="{3FC4D94E-3F7B-457C-A7CE-EAF00E7B718A}"/>
              </a:ext>
            </a:extLst>
          </p:cNvPr>
          <p:cNvSpPr txBox="1">
            <a:spLocks/>
          </p:cNvSpPr>
          <p:nvPr/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" sz="1100" smtClean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6</a:t>
            </a:fld>
            <a:endParaRPr lang="en" sz="1100" dirty="0">
              <a:solidFill>
                <a:schemeClr val="bg1">
                  <a:lumMod val="8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7559745" y="1617031"/>
            <a:ext cx="728340" cy="728336"/>
            <a:chOff x="7559745" y="1617031"/>
            <a:chExt cx="728340" cy="728336"/>
          </a:xfrm>
        </p:grpSpPr>
        <p:sp>
          <p:nvSpPr>
            <p:cNvPr id="41" name="Овал 40">
              <a:extLst>
                <a:ext uri="{FF2B5EF4-FFF2-40B4-BE49-F238E27FC236}">
                  <a16:creationId xmlns:a16="http://schemas.microsoft.com/office/drawing/2014/main" xmlns="" id="{1B3EF5EA-9F06-4458-A78A-6CE112383FDD}"/>
                </a:ext>
              </a:extLst>
            </p:cNvPr>
            <p:cNvSpPr/>
            <p:nvPr/>
          </p:nvSpPr>
          <p:spPr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7" name="Рисунок 6" descr="Попасть в яблочко">
              <a:extLst>
                <a:ext uri="{FF2B5EF4-FFF2-40B4-BE49-F238E27FC236}">
                  <a16:creationId xmlns:a16="http://schemas.microsoft.com/office/drawing/2014/main" xmlns="" id="{3332B0D8-A807-4EFC-AFB5-23A26615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grpSp>
        <p:nvGrpSpPr>
          <p:cNvPr id="9" name="Группа 8"/>
          <p:cNvGrpSpPr/>
          <p:nvPr/>
        </p:nvGrpSpPr>
        <p:grpSpPr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xmlns="" id="{6C2484BF-A76B-4B95-9B8A-5C002E16225E}"/>
                </a:ext>
              </a:extLst>
            </p:cNvPr>
            <p:cNvSpPr/>
            <p:nvPr/>
          </p:nvSpPr>
          <p:spPr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xmlns="" id="{F556AEBB-BC7B-48BB-B38B-4137C2A55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  <p:grpSp>
        <p:nvGrpSpPr>
          <p:cNvPr id="27" name="Группа 26"/>
          <p:cNvGrpSpPr/>
          <p:nvPr/>
        </p:nvGrpSpPr>
        <p:grpSpPr>
          <a:xfrm>
            <a:off x="7587213" y="2731672"/>
            <a:ext cx="728340" cy="728336"/>
            <a:chOff x="7559745" y="1617031"/>
            <a:chExt cx="728340" cy="728336"/>
          </a:xfrm>
        </p:grpSpPr>
        <p:sp>
          <p:nvSpPr>
            <p:cNvPr id="28" name="Овал 27">
              <a:extLst>
                <a:ext uri="{FF2B5EF4-FFF2-40B4-BE49-F238E27FC236}">
                  <a16:creationId xmlns:a16="http://schemas.microsoft.com/office/drawing/2014/main" xmlns="" id="{1B3EF5EA-9F06-4458-A78A-6CE112383FDD}"/>
                </a:ext>
              </a:extLst>
            </p:cNvPr>
            <p:cNvSpPr/>
            <p:nvPr/>
          </p:nvSpPr>
          <p:spPr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32" name="Рисунок 31" descr="Попасть в яблочко">
              <a:extLst>
                <a:ext uri="{FF2B5EF4-FFF2-40B4-BE49-F238E27FC236}">
                  <a16:creationId xmlns:a16="http://schemas.microsoft.com/office/drawing/2014/main" xmlns="" id="{3332B0D8-A807-4EFC-AFB5-23A26615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sp>
        <p:nvSpPr>
          <p:cNvPr id="15" name="Прямоугольник 14"/>
          <p:cNvSpPr/>
          <p:nvPr/>
        </p:nvSpPr>
        <p:spPr>
          <a:xfrm>
            <a:off x="8419694" y="1873477"/>
            <a:ext cx="317054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собия  для детей</a:t>
            </a:r>
            <a:endParaRPr 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419693" y="2988118"/>
            <a:ext cx="317054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сты</a:t>
            </a:r>
            <a:endParaRPr 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7742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3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42913" y="5471973"/>
            <a:ext cx="3281362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>
                <a:solidFill>
                  <a:prstClr val="black"/>
                </a:solidFill>
                <a:latin typeface="+mn-lt"/>
              </a:rPr>
              <a:t>Код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119-0040-01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119-0041-01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119-0042-01</a:t>
            </a:r>
            <a:r>
              <a:rPr lang="ru-RU" b="0" dirty="0" smtClean="0">
                <a:latin typeface="+mn-lt"/>
              </a:rPr>
              <a:t/>
            </a:r>
            <a:br>
              <a:rPr lang="ru-RU" b="0" dirty="0" smtClean="0">
                <a:latin typeface="+mn-lt"/>
              </a:rPr>
            </a:b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84</a:t>
            </a:r>
            <a:r>
              <a:rPr lang="ru-RU" b="0" dirty="0">
                <a:solidFill>
                  <a:prstClr val="black"/>
                </a:solidFill>
                <a:latin typeface="+mn-lt"/>
                <a:sym typeface="Wingdings 2" panose="05020102010507070707" pitchFamily="18" charset="2"/>
              </a:rPr>
              <a:t>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108 1/16,  48 </a:t>
            </a:r>
            <a:r>
              <a:rPr lang="ru-RU" b="0" dirty="0" err="1">
                <a:solidFill>
                  <a:prstClr val="black"/>
                </a:solidFill>
                <a:latin typeface="+mn-lt"/>
              </a:rPr>
              <a:t>стр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4 краск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7616" y="405373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Серия </a:t>
            </a:r>
            <a:r>
              <a:rPr lang="ru-RU" dirty="0" smtClean="0"/>
              <a:t>«</a:t>
            </a:r>
            <a:r>
              <a:rPr lang="ru-RU" dirty="0"/>
              <a:t>Тропинки</a:t>
            </a:r>
            <a:r>
              <a:rPr lang="ru-RU" dirty="0" smtClean="0"/>
              <a:t>»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073397" y="1592263"/>
            <a:ext cx="6707166" cy="112338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епим, клеим, мастерим. Пособие для детей 3-4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ет</a:t>
            </a:r>
          </a:p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епим, клеим, мастерим. Пособие для детей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4-5 лет</a:t>
            </a:r>
          </a:p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епим, клеим, мастерим. Пособие для детей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5-6 лет</a:t>
            </a:r>
          </a:p>
          <a:p>
            <a:endParaRPr lang="en-US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400" b="1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алмина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Н. Г., Глебова А. О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073397" y="2943566"/>
            <a:ext cx="596022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В пособиях </a:t>
            </a:r>
            <a:r>
              <a:rPr lang="ru-RU" sz="1200" dirty="0"/>
              <a:t>представлены материалы для проведения занятий по продуктивным видам деятельности (лепке и аппликации) с детьми </a:t>
            </a:r>
            <a:r>
              <a:rPr lang="ru-RU" sz="1200" dirty="0" smtClean="0"/>
              <a:t>3-4, 4-5, 5-6 </a:t>
            </a:r>
            <a:r>
              <a:rPr lang="ru-RU" sz="1200" dirty="0"/>
              <a:t>лет в дошкольной образовательной организации. </a:t>
            </a:r>
            <a:endParaRPr lang="ru-RU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Задания </a:t>
            </a:r>
            <a:r>
              <a:rPr lang="ru-RU" sz="1200" dirty="0"/>
              <a:t>предполагают выполнение работ по образцу, наглядной или словесной инструкции, творческому замыслу</a:t>
            </a:r>
            <a:r>
              <a:rPr lang="ru-RU" sz="1200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В пособиях </a:t>
            </a:r>
            <a:r>
              <a:rPr lang="ru-RU" sz="1200" dirty="0"/>
              <a:t>есть шаблоны, заготовки, фактурные основы для выполнения творческих работ. Дополнительно необходимы клей, ножницы и пластилин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Пособия могут </a:t>
            </a:r>
            <a:r>
              <a:rPr lang="ru-RU" sz="1200" dirty="0"/>
              <a:t>быть </a:t>
            </a:r>
            <a:r>
              <a:rPr lang="ru-RU" sz="1200" dirty="0" smtClean="0"/>
              <a:t>использованы </a:t>
            </a:r>
            <a:r>
              <a:rPr lang="ru-RU" sz="1200" dirty="0"/>
              <a:t>не только воспитателями, но и родителями.</a:t>
            </a:r>
          </a:p>
        </p:txBody>
      </p:sp>
      <p:pic>
        <p:nvPicPr>
          <p:cNvPr id="11" name="Рисунок 10" descr="C:\Users\SMaksimova\Desktop\Планирование 2021\2021 утверждено\НОВИНКИ октябрь дошколка\36230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16" y="1606233"/>
            <a:ext cx="1254125" cy="16294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Рисунок 13" descr="C:\Users\SMaksimova\Desktop\Планирование 2021\2021 утверждено\НОВИНКИ октябрь дошколка\36229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3921" y="2218636"/>
            <a:ext cx="1195705" cy="15544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Рисунок 14" descr="C:\Users\SMaksimova\Desktop\Планирование 2021\2021 утверждено\НОВИНКИ октябрь дошколка\36231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06" y="3045531"/>
            <a:ext cx="1257935" cy="15563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16709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5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42913" y="5471973"/>
            <a:ext cx="3281362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>
                <a:solidFill>
                  <a:prstClr val="black"/>
                </a:solidFill>
                <a:latin typeface="+mn-lt"/>
              </a:rPr>
              <a:t>Код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119-0040-01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119-0041-01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119-0042-01</a:t>
            </a:r>
            <a:r>
              <a:rPr lang="ru-RU" b="0" dirty="0" smtClean="0">
                <a:latin typeface="+mn-lt"/>
              </a:rPr>
              <a:t/>
            </a:r>
            <a:br>
              <a:rPr lang="ru-RU" b="0" dirty="0" smtClean="0">
                <a:latin typeface="+mn-lt"/>
              </a:rPr>
            </a:b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84</a:t>
            </a:r>
            <a:r>
              <a:rPr lang="ru-RU" b="0" dirty="0">
                <a:solidFill>
                  <a:prstClr val="black"/>
                </a:solidFill>
                <a:latin typeface="+mn-lt"/>
                <a:sym typeface="Wingdings 2" panose="05020102010507070707" pitchFamily="18" charset="2"/>
              </a:rPr>
              <a:t>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108 1/16,  48 </a:t>
            </a:r>
            <a:r>
              <a:rPr lang="ru-RU" b="0" dirty="0" err="1">
                <a:solidFill>
                  <a:prstClr val="black"/>
                </a:solidFill>
                <a:latin typeface="+mn-lt"/>
              </a:rPr>
              <a:t>стр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4 краск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7616" y="405373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Серия «</a:t>
            </a:r>
            <a:r>
              <a:rPr lang="ru-RU" dirty="0" err="1"/>
              <a:t>Предшкольная</a:t>
            </a:r>
            <a:r>
              <a:rPr lang="ru-RU" dirty="0"/>
              <a:t> пора»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073397" y="1592263"/>
            <a:ext cx="6707166" cy="907941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отовлюсь к школе. 5-6 лет.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Тесты</a:t>
            </a:r>
          </a:p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отовлюсь к школе.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6-7 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ет.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Тесты</a:t>
            </a:r>
          </a:p>
          <a:p>
            <a:endParaRPr lang="en-US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узнецова 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.И., </a:t>
            </a:r>
            <a:r>
              <a:rPr lang="ru-RU" sz="1400" b="1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чурова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Е.Э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073397" y="2943566"/>
            <a:ext cx="596022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Рабочая тетрадь предназначена для </a:t>
            </a:r>
            <a:r>
              <a:rPr lang="ru-RU" sz="1200" dirty="0" smtClean="0"/>
              <a:t>дошкольников. </a:t>
            </a:r>
            <a:r>
              <a:rPr lang="ru-RU" sz="1200" dirty="0"/>
              <a:t>В пособие включены разнообразные задания по обучению грамоте, математике и окружающему миру, направленные на выявление знаний детей </a:t>
            </a:r>
            <a:r>
              <a:rPr lang="ru-RU" sz="1200" dirty="0" smtClean="0"/>
              <a:t>в </a:t>
            </a:r>
            <a:r>
              <a:rPr lang="ru-RU" sz="1200" dirty="0"/>
              <a:t>соответствии с их возрастными особенностями. Разноплановые задания помогут воспитателям и заинтересованным родителям грамотно организовать диагностические процедуры с дошкольниками. </a:t>
            </a:r>
            <a:endParaRPr lang="ru-RU" sz="1200" dirty="0" smtClean="0"/>
          </a:p>
          <a:p>
            <a:endParaRPr lang="ru-RU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Детально продуманные методические рекомендации по оценке результатов тестирования позволят воспитателям и родителям компетентно определить уровень подготовки дошкольников и грамотно организовать дальнейшую работу с ними.</a:t>
            </a:r>
          </a:p>
        </p:txBody>
      </p:sp>
      <p:pic>
        <p:nvPicPr>
          <p:cNvPr id="13" name="Рисунок 12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876" y="1919486"/>
            <a:ext cx="1447309" cy="18461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Рисунок 15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4670" y="2544606"/>
            <a:ext cx="1447309" cy="18461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47734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98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42913" y="5543410"/>
            <a:ext cx="3281362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 smtClean="0">
                <a:solidFill>
                  <a:prstClr val="black"/>
                </a:solidFill>
                <a:latin typeface="+mn-lt"/>
              </a:rPr>
              <a:t>Код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311-0625-01</a:t>
            </a:r>
            <a:r>
              <a:rPr lang="ru-RU" b="0" dirty="0" smtClean="0">
                <a:latin typeface="+mn-lt"/>
              </a:rPr>
              <a:t/>
            </a:r>
            <a:br>
              <a:rPr lang="ru-RU" b="0" dirty="0" smtClean="0">
                <a:latin typeface="+mn-lt"/>
              </a:rPr>
            </a:b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60*90/8,  48 </a:t>
            </a:r>
            <a:r>
              <a:rPr lang="ru-RU" b="0" dirty="0" err="1">
                <a:solidFill>
                  <a:prstClr val="black"/>
                </a:solidFill>
                <a:latin typeface="+mn-lt"/>
              </a:rPr>
              <a:t>стр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4 краск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7616" y="405373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Серия «Суперквест для ума»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073397" y="1592263"/>
            <a:ext cx="6707166" cy="907941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Большое путешествие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Николаса</a:t>
            </a:r>
          </a:p>
          <a:p>
            <a:endParaRPr lang="en-US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аша </a:t>
            </a:r>
            <a:r>
              <a:rPr lang="ru-RU" sz="1400" b="1" dirty="0" err="1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гапина</a:t>
            </a:r>
            <a:endParaRPr lang="ru-RU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027089" y="2594775"/>
            <a:ext cx="5960225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Серия книг Маши </a:t>
            </a:r>
            <a:r>
              <a:rPr lang="ru-RU" sz="1200" dirty="0" err="1"/>
              <a:t>Агапиной</a:t>
            </a:r>
            <a:r>
              <a:rPr lang="ru-RU" sz="1200" dirty="0"/>
              <a:t> "Суперквест для ума" - абсолютно новый и очень современный вид нон-фикшн для детей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Во-первых, это комикс. Но не просто история в картинках, а отличный логический материал, с эмоциональными и конфликтными моментами в историях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Во-вторых, это головоломки, задания и поделки, напрямую связанные с сюжетом, и море многоразовых наклеек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В-третьих, это отличная и очень качественная детская научно-популярная литература, которая поможет дошкольнику ответить на многие вопросы и замотивирует на познание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Наконец-то </a:t>
            </a:r>
            <a:r>
              <a:rPr lang="ru-RU" sz="1200" dirty="0"/>
              <a:t>Николас отправляется в КОСМОС! Он так давно мечтал стать Космическим спасателем! Вместе с подругой Олей, ручным енотом Веником и динозавриком </a:t>
            </a:r>
            <a:r>
              <a:rPr lang="ru-RU" sz="1200" dirty="0" err="1"/>
              <a:t>Рапти</a:t>
            </a:r>
            <a:r>
              <a:rPr lang="ru-RU" sz="1200" dirty="0"/>
              <a:t> им предстоит выполнит невероятно важную миссию: вернуть 5 планет из артефакта в их планетную систему. И, конечно, подружиться с симпатичными инопланетянами.</a:t>
            </a:r>
          </a:p>
        </p:txBody>
      </p:sp>
      <p:pic>
        <p:nvPicPr>
          <p:cNvPr id="11" name="Рисунок 10" descr="Y:\Мои файлы\Kosmos-cover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3" y="1585239"/>
            <a:ext cx="2665412" cy="34030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5879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051</TotalTime>
  <Words>1062</Words>
  <Application>Microsoft Office PowerPoint</Application>
  <PresentationFormat>Широкоэкранный</PresentationFormat>
  <Paragraphs>112</Paragraphs>
  <Slides>11</Slides>
  <Notes>1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1" baseType="lpstr">
      <vt:lpstr>Arial</vt:lpstr>
      <vt:lpstr>Calibri</vt:lpstr>
      <vt:lpstr>Calibri Light</vt:lpstr>
      <vt:lpstr>Open Sans</vt:lpstr>
      <vt:lpstr>Open Sans Extrabold</vt:lpstr>
      <vt:lpstr>Open Sans Light</vt:lpstr>
      <vt:lpstr>Wingdings 2</vt:lpstr>
      <vt:lpstr>Тема Office</vt:lpstr>
      <vt:lpstr>5_Тема Office</vt:lpstr>
      <vt:lpstr>Слайд think-cell</vt:lpstr>
      <vt:lpstr>НОВИНКИ ОКТЯБРЯ 2021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User PC Vadim</cp:lastModifiedBy>
  <cp:revision>1233</cp:revision>
  <cp:lastPrinted>2021-03-09T13:01:30Z</cp:lastPrinted>
  <dcterms:created xsi:type="dcterms:W3CDTF">2018-07-24T05:59:49Z</dcterms:created>
  <dcterms:modified xsi:type="dcterms:W3CDTF">2021-08-12T07:10:11Z</dcterms:modified>
</cp:coreProperties>
</file>